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1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B0000"/>
    <a:srgbClr val="8D8D8D"/>
    <a:srgbClr val="444444"/>
    <a:srgbClr val="C60018"/>
    <a:srgbClr val="A20013"/>
    <a:srgbClr val="BDBDBD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39AB77BC-DB1B-4FC0-9608-51BFAD366678}"/>
    <pc:docChg chg="modSld">
      <pc:chgData name="Weigel Stefan (PAR-EPS)" userId="fd3b2067-2981-4ad8-bf3a-d2e1004e4fa8" providerId="ADAL" clId="{39AB77BC-DB1B-4FC0-9608-51BFAD366678}" dt="2024-02-02T08:59:53.242" v="3" actId="27918"/>
      <pc:docMkLst>
        <pc:docMk/>
      </pc:docMkLst>
      <pc:sldChg chg="mod">
        <pc:chgData name="Weigel Stefan (PAR-EPS)" userId="fd3b2067-2981-4ad8-bf3a-d2e1004e4fa8" providerId="ADAL" clId="{39AB77BC-DB1B-4FC0-9608-51BFAD366678}" dt="2024-02-02T08:59:53.242" v="3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1C0605C6-B068-458F-A341-33D2C9C06EED}"/>
    <pc:docChg chg="modSld">
      <pc:chgData name="Weigel Stefan (PAR-EPS)" userId="fd3b2067-2981-4ad8-bf3a-d2e1004e4fa8" providerId="ADAL" clId="{1C0605C6-B068-458F-A341-33D2C9C06EED}" dt="2024-11-01T10:40:34.745" v="10" actId="27918"/>
      <pc:docMkLst>
        <pc:docMk/>
      </pc:docMkLst>
      <pc:sldChg chg="modSp mod">
        <pc:chgData name="Weigel Stefan (PAR-EPS)" userId="fd3b2067-2981-4ad8-bf3a-d2e1004e4fa8" providerId="ADAL" clId="{1C0605C6-B068-458F-A341-33D2C9C06EED}" dt="2024-11-01T10:40:34.745" v="10" actId="27918"/>
        <pc:sldMkLst>
          <pc:docMk/>
          <pc:sldMk cId="2641487227" sldId="271"/>
        </pc:sldMkLst>
        <pc:spChg chg="mod">
          <ac:chgData name="Weigel Stefan (PAR-EPS)" userId="fd3b2067-2981-4ad8-bf3a-d2e1004e4fa8" providerId="ADAL" clId="{1C0605C6-B068-458F-A341-33D2C9C06EED}" dt="2024-11-01T10:39:44.232" v="1" actId="20577"/>
          <ac:spMkLst>
            <pc:docMk/>
            <pc:sldMk cId="2641487227" sldId="271"/>
            <ac:spMk id="6" creationId="{0148E78D-7FBB-46BC-A7E3-0EFE6D9E4679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4D2B230-10B4-4502-9FFD-6F28BB44728F}"/>
    <pc:docChg chg="modSld">
      <pc:chgData name="Meyer Raphael (PAR-ES)" userId="79615dfe-ed48-4e74-a40f-4f7b034c1c27" providerId="ADAL" clId="{44D2B230-10B4-4502-9FFD-6F28BB44728F}" dt="2021-11-08T12:11:08.081" v="14" actId="1035"/>
      <pc:docMkLst>
        <pc:docMk/>
      </pc:docMkLst>
      <pc:sldChg chg="addSp modSp mod">
        <pc:chgData name="Meyer Raphael (PAR-ES)" userId="79615dfe-ed48-4e74-a40f-4f7b034c1c27" providerId="ADAL" clId="{44D2B230-10B4-4502-9FFD-6F28BB44728F}" dt="2021-11-08T12:11:08.081" v="14" actId="1035"/>
        <pc:sldMkLst>
          <pc:docMk/>
          <pc:sldMk cId="1065586608" sldId="273"/>
        </pc:sldMkLst>
        <pc:spChg chg="add mod">
          <ac:chgData name="Meyer Raphael (PAR-ES)" userId="79615dfe-ed48-4e74-a40f-4f7b034c1c27" providerId="ADAL" clId="{44D2B230-10B4-4502-9FFD-6F28BB44728F}" dt="2021-11-08T12:11:08.081" v="14" actId="1035"/>
          <ac:spMkLst>
            <pc:docMk/>
            <pc:sldMk cId="1065586608" sldId="273"/>
            <ac:spMk id="8" creationId="{372D1D2E-5445-489E-A3F2-D49DFC8BE2C6}"/>
          </ac:spMkLst>
        </pc:sp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80FDB4F1-15F0-419D-8B63-114DE05D738D}"/>
    <pc:docChg chg="custSel modSld">
      <pc:chgData name="Weigel Stefan (PAR-EPS)" userId="fd3b2067-2981-4ad8-bf3a-d2e1004e4fa8" providerId="ADAL" clId="{80FDB4F1-15F0-419D-8B63-114DE05D738D}" dt="2024-04-25T07:25:55.272" v="36" actId="692"/>
      <pc:docMkLst>
        <pc:docMk/>
      </pc:docMkLst>
      <pc:sldChg chg="modSp mod">
        <pc:chgData name="Weigel Stefan (PAR-EPS)" userId="fd3b2067-2981-4ad8-bf3a-d2e1004e4fa8" providerId="ADAL" clId="{80FDB4F1-15F0-419D-8B63-114DE05D738D}" dt="2024-04-25T07:25:55.272" v="36" actId="692"/>
        <pc:sldMkLst>
          <pc:docMk/>
          <pc:sldMk cId="2641487227" sldId="271"/>
        </pc:sldMkLst>
        <pc:spChg chg="mod">
          <ac:chgData name="Weigel Stefan (PAR-EPS)" userId="fd3b2067-2981-4ad8-bf3a-d2e1004e4fa8" providerId="ADAL" clId="{80FDB4F1-15F0-419D-8B63-114DE05D738D}" dt="2024-04-25T07:23:28.606" v="1" actId="20577"/>
          <ac:spMkLst>
            <pc:docMk/>
            <pc:sldMk cId="2641487227" sldId="27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0FDB4F1-15F0-419D-8B63-114DE05D738D}" dt="2024-04-25T07:23:55.031" v="19" actId="207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80FDB4F1-15F0-419D-8B63-114DE05D738D}" dt="2024-04-25T07:24:30.385" v="31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Weigel Stefan (PAR-EPS)" userId="fd3b2067-2981-4ad8-bf3a-d2e1004e4fa8" providerId="ADAL" clId="{80FDB4F1-15F0-419D-8B63-114DE05D738D}" dt="2024-04-25T07:25:55.272" v="36" actId="692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A09B205D-F152-4260-A08F-D50F46FAECFB}"/>
    <pc:docChg chg="delSld">
      <pc:chgData name="Meyer Raphael (PAR-ES)" userId="79615dfe-ed48-4e74-a40f-4f7b034c1c27" providerId="ADAL" clId="{A09B205D-F152-4260-A08F-D50F46FAECFB}" dt="2021-11-08T11:29:13.724" v="0" actId="47"/>
      <pc:docMkLst>
        <pc:docMk/>
      </pc:docMkLst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A09B205D-F152-4260-A08F-D50F46FAECFB}" dt="2021-11-08T11:29:13.724" v="0" actId="47"/>
        <pc:sldMkLst>
          <pc:docMk/>
          <pc:sldMk cId="1963209825" sldId="272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Weigel Stefan (PAR-EPS)" userId="fd3b2067-2981-4ad8-bf3a-d2e1004e4fa8" providerId="ADAL" clId="{9C3EE6B5-CBDD-4799-BFBC-6ABA612315CD}"/>
    <pc:docChg chg="modSld">
      <pc:chgData name="Weigel Stefan (PAR-EPS)" userId="fd3b2067-2981-4ad8-bf3a-d2e1004e4fa8" providerId="ADAL" clId="{9C3EE6B5-CBDD-4799-BFBC-6ABA612315CD}" dt="2023-11-21T15:05:00.159" v="27" actId="20577"/>
      <pc:docMkLst>
        <pc:docMk/>
      </pc:docMkLst>
      <pc:sldChg chg="modSp mod">
        <pc:chgData name="Weigel Stefan (PAR-EPS)" userId="fd3b2067-2981-4ad8-bf3a-d2e1004e4fa8" providerId="ADAL" clId="{9C3EE6B5-CBDD-4799-BFBC-6ABA612315CD}" dt="2023-11-21T15:05:00.159" v="27" actId="20577"/>
        <pc:sldMkLst>
          <pc:docMk/>
          <pc:sldMk cId="2641487227" sldId="271"/>
        </pc:sldMkLst>
        <pc:spChg chg="mod">
          <ac:chgData name="Weigel Stefan (PAR-EPS)" userId="fd3b2067-2981-4ad8-bf3a-d2e1004e4fa8" providerId="ADAL" clId="{9C3EE6B5-CBDD-4799-BFBC-6ABA612315CD}" dt="2023-11-21T15:05:00.159" v="27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Weigel Stefan (PAR-EPS)" userId="fd3b2067-2981-4ad8-bf3a-d2e1004e4fa8" providerId="ADAL" clId="{9C3EE6B5-CBDD-4799-BFBC-6ABA612315CD}" dt="2023-11-21T11:45:20.373" v="9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2E74F6D9-9510-460C-A6B0-3AD9B51F8956}"/>
    <pc:docChg chg="custSel delSld modSld">
      <pc:chgData name="Meyer Raphael (PAR-ES)" userId="79615dfe-ed48-4e74-a40f-4f7b034c1c27" providerId="ADAL" clId="{2E74F6D9-9510-460C-A6B0-3AD9B51F8956}" dt="2022-03-10T10:36:35.276" v="16" actId="27918"/>
      <pc:docMkLst>
        <pc:docMk/>
      </pc:docMkLst>
      <pc:sldChg chg="modSp mod">
        <pc:chgData name="Meyer Raphael (PAR-ES)" userId="79615dfe-ed48-4e74-a40f-4f7b034c1c27" providerId="ADAL" clId="{2E74F6D9-9510-460C-A6B0-3AD9B51F8956}" dt="2022-03-10T10:36:35.276" v="16" actId="27918"/>
        <pc:sldMkLst>
          <pc:docMk/>
          <pc:sldMk cId="2641487227" sldId="271"/>
        </pc:sldMkLst>
        <pc:spChg chg="mod">
          <ac:chgData name="Meyer Raphael (PAR-ES)" userId="79615dfe-ed48-4e74-a40f-4f7b034c1c27" providerId="ADAL" clId="{2E74F6D9-9510-460C-A6B0-3AD9B51F8956}" dt="2022-03-10T10:35:44.072" v="0"/>
          <ac:spMkLst>
            <pc:docMk/>
            <pc:sldMk cId="264148722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2E74F6D9-9510-460C-A6B0-3AD9B51F8956}" dt="2022-03-10T10:35:55.864" v="5" actId="20577"/>
          <ac:spMkLst>
            <pc:docMk/>
            <pc:sldMk cId="2641487227" sldId="271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2E74F6D9-9510-460C-A6B0-3AD9B51F8956}" dt="2022-03-10T10:36:14.321" v="12" actId="20577"/>
          <ac:spMkLst>
            <pc:docMk/>
            <pc:sldMk cId="2641487227" sldId="27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2E74F6D9-9510-460C-A6B0-3AD9B51F8956}" dt="2022-03-10T10:36:09.237" v="6"/>
          <ac:spMkLst>
            <pc:docMk/>
            <pc:sldMk cId="2641487227" sldId="271"/>
            <ac:spMk id="10" creationId="{41B9B9AB-4B12-4760-AF37-4FABDDFAE68B}"/>
          </ac:spMkLst>
        </pc:spChg>
      </pc:sldChg>
      <pc:sldChg chg="del">
        <pc:chgData name="Meyer Raphael (PAR-ES)" userId="79615dfe-ed48-4e74-a40f-4f7b034c1c27" providerId="ADAL" clId="{2E74F6D9-9510-460C-A6B0-3AD9B51F8956}" dt="2022-03-10T10:36:24.143" v="13" actId="47"/>
        <pc:sldMkLst>
          <pc:docMk/>
          <pc:sldMk cId="1065586608" sldId="273"/>
        </pc:sldMkLst>
      </pc:sldChg>
    </pc:docChg>
  </pc:docChgLst>
  <pc:docChgLst>
    <pc:chgData name="Weigel Stefan (PAR-ES)" userId="fd3b2067-2981-4ad8-bf3a-d2e1004e4fa8" providerId="ADAL" clId="{30B7A107-6B1F-447B-8DFC-B7E0C5A69D22}"/>
    <pc:docChg chg="modSld">
      <pc:chgData name="Weigel Stefan (PAR-ES)" userId="fd3b2067-2981-4ad8-bf3a-d2e1004e4fa8" providerId="ADAL" clId="{30B7A107-6B1F-447B-8DFC-B7E0C5A69D22}" dt="2023-01-31T17:59:15.758" v="22"/>
      <pc:docMkLst>
        <pc:docMk/>
      </pc:docMkLst>
      <pc:sldChg chg="modSp mod">
        <pc:chgData name="Weigel Stefan (PAR-ES)" userId="fd3b2067-2981-4ad8-bf3a-d2e1004e4fa8" providerId="ADAL" clId="{30B7A107-6B1F-447B-8DFC-B7E0C5A69D22}" dt="2023-01-31T17:59:15.758" v="22"/>
        <pc:sldMkLst>
          <pc:docMk/>
          <pc:sldMk cId="2641487227" sldId="271"/>
        </pc:sldMkLst>
        <pc:spChg chg="mod">
          <ac:chgData name="Weigel Stefan (PAR-ES)" userId="fd3b2067-2981-4ad8-bf3a-d2e1004e4fa8" providerId="ADAL" clId="{30B7A107-6B1F-447B-8DFC-B7E0C5A69D22}" dt="2023-01-25T14:35:09.401" v="1" actId="20577"/>
          <ac:spMkLst>
            <pc:docMk/>
            <pc:sldMk cId="2641487227" sldId="271"/>
            <ac:spMk id="6" creationId="{0148E78D-7FBB-46BC-A7E3-0EFE6D9E4679}"/>
          </ac:spMkLst>
        </pc:spChg>
        <pc:graphicFrameChg chg="mod">
          <ac:chgData name="Weigel Stefan (PAR-ES)" userId="fd3b2067-2981-4ad8-bf3a-d2e1004e4fa8" providerId="ADAL" clId="{30B7A107-6B1F-447B-8DFC-B7E0C5A69D22}" dt="2023-01-31T17:59:15.758" v="22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46949456911378"/>
          <c:y val="8.9940708223574681E-2"/>
          <c:w val="0.77970737914140231"/>
          <c:h val="0.8199741906118294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717-4190-826F-80A673570E1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5-EE3C-4C43-A7B7-0024E28DB0B0}"/>
              </c:ext>
            </c:extLst>
          </c:dPt>
          <c:cat>
            <c:strRef>
              <c:f>data!$G$3:$G$18</c:f>
              <c:strCache>
                <c:ptCount val="16"/>
                <c:pt idx="0">
                  <c:v>Romania</c:v>
                </c:pt>
                <c:pt idx="1">
                  <c:v>Norvegia</c:v>
                </c:pt>
                <c:pt idx="2">
                  <c:v>Polonia</c:v>
                </c:pt>
                <c:pt idx="3">
                  <c:v>Spagna</c:v>
                </c:pt>
                <c:pt idx="4">
                  <c:v>Gran Bretagna</c:v>
                </c:pt>
                <c:pt idx="5">
                  <c:v>Belgio</c:v>
                </c:pt>
                <c:pt idx="6">
                  <c:v>Cechia</c:v>
                </c:pt>
                <c:pt idx="7">
                  <c:v>Finlandia</c:v>
                </c:pt>
                <c:pt idx="8">
                  <c:v>Italia</c:v>
                </c:pt>
                <c:pt idx="9">
                  <c:v>Danimarca</c:v>
                </c:pt>
                <c:pt idx="10">
                  <c:v>Paesi Bassi</c:v>
                </c:pt>
                <c:pt idx="11">
                  <c:v>Germania</c:v>
                </c:pt>
                <c:pt idx="12">
                  <c:v>Svezia</c:v>
                </c:pt>
                <c:pt idx="13">
                  <c:v>Francia</c:v>
                </c:pt>
                <c:pt idx="14">
                  <c:v>Austria</c:v>
                </c:pt>
                <c:pt idx="15">
                  <c:v>Svizzera</c:v>
                </c:pt>
              </c:strCache>
            </c:strRef>
          </c:cat>
          <c:val>
            <c:numRef>
              <c:f>data!$I$3:$I$18</c:f>
              <c:numCache>
                <c:formatCode>0.0</c:formatCode>
                <c:ptCount val="16"/>
                <c:pt idx="0">
                  <c:v>322.64309898093398</c:v>
                </c:pt>
                <c:pt idx="1">
                  <c:v>632.94982183534501</c:v>
                </c:pt>
                <c:pt idx="2">
                  <c:v>704.26861986452002</c:v>
                </c:pt>
                <c:pt idx="3">
                  <c:v>712.43928621285602</c:v>
                </c:pt>
                <c:pt idx="4">
                  <c:v>880.24432848774404</c:v>
                </c:pt>
                <c:pt idx="5">
                  <c:v>882.43380330828597</c:v>
                </c:pt>
                <c:pt idx="6">
                  <c:v>917.01752800660199</c:v>
                </c:pt>
                <c:pt idx="7">
                  <c:v>927.75486000609203</c:v>
                </c:pt>
                <c:pt idx="8">
                  <c:v>928.82239590475297</c:v>
                </c:pt>
                <c:pt idx="9">
                  <c:v>1011.70073586928</c:v>
                </c:pt>
                <c:pt idx="10">
                  <c:v>1069.77997253739</c:v>
                </c:pt>
                <c:pt idx="11">
                  <c:v>1215.2675414943999</c:v>
                </c:pt>
                <c:pt idx="12">
                  <c:v>1261.2177347229201</c:v>
                </c:pt>
                <c:pt idx="13">
                  <c:v>1481.18482564186</c:v>
                </c:pt>
                <c:pt idx="14">
                  <c:v>1576.08844001638</c:v>
                </c:pt>
                <c:pt idx="15">
                  <c:v>2465.51647174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611-4BE3-9E26-ED344772E0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65451520"/>
        <c:axId val="65449984"/>
        <c:extLst>
          <c:ext xmlns:c15="http://schemas.microsoft.com/office/drawing/2012/chart" uri="{02D57815-91ED-43cb-92C2-25804820EDAC}">
            <c15:filteredBarSeries>
              <c15:ser>
                <c:idx val="0"/>
                <c:order val="1"/>
                <c:tx>
                  <c:strRef>
                    <c:extLst>
                      <c:ext uri="{02D57815-91ED-43cb-92C2-25804820EDAC}">
                        <c15:formulaRef>
                          <c15:sqref>data!$H$2</c15:sqref>
                        </c15:formulaRef>
                      </c:ext>
                    </c:extLst>
                    <c:strCache>
                      <c:ptCount val="1"/>
                      <c:pt idx="0">
                        <c:v>2019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</c:spPr>
                <c:invertIfNegative val="0"/>
                <c:dPt>
                  <c:idx val="10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0-40EB-4086-B314-698BDD6187D3}"/>
                    </c:ext>
                  </c:extLst>
                </c:dPt>
                <c:dPt>
                  <c:idx val="13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4-40EB-4086-B314-698BDD6187D3}"/>
                    </c:ext>
                  </c:extLst>
                </c:dPt>
                <c:dPt>
                  <c:idx val="14"/>
                  <c:invertIfNegative val="0"/>
                  <c:bubble3D val="0"/>
                  <c:extLst>
                    <c:ext xmlns:c16="http://schemas.microsoft.com/office/drawing/2014/chart" uri="{C3380CC4-5D6E-409C-BE32-E72D297353CC}">
                      <c16:uniqueId val="{00000002-40EB-4086-B314-698BDD6187D3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data!$G$3:$G$18</c15:sqref>
                        </c15:formulaRef>
                      </c:ext>
                    </c:extLst>
                    <c:strCache>
                      <c:ptCount val="16"/>
                      <c:pt idx="0">
                        <c:v>Romania</c:v>
                      </c:pt>
                      <c:pt idx="1">
                        <c:v>Norvegia</c:v>
                      </c:pt>
                      <c:pt idx="2">
                        <c:v>Polonia</c:v>
                      </c:pt>
                      <c:pt idx="3">
                        <c:v>Spagna</c:v>
                      </c:pt>
                      <c:pt idx="4">
                        <c:v>Gran Bretagna</c:v>
                      </c:pt>
                      <c:pt idx="5">
                        <c:v>Belgio</c:v>
                      </c:pt>
                      <c:pt idx="6">
                        <c:v>Cechia</c:v>
                      </c:pt>
                      <c:pt idx="7">
                        <c:v>Finlandia</c:v>
                      </c:pt>
                      <c:pt idx="8">
                        <c:v>Italia</c:v>
                      </c:pt>
                      <c:pt idx="9">
                        <c:v>Danimarca</c:v>
                      </c:pt>
                      <c:pt idx="10">
                        <c:v>Paesi Bassi</c:v>
                      </c:pt>
                      <c:pt idx="11">
                        <c:v>Germania</c:v>
                      </c:pt>
                      <c:pt idx="12">
                        <c:v>Svezia</c:v>
                      </c:pt>
                      <c:pt idx="13">
                        <c:v>Francia</c:v>
                      </c:pt>
                      <c:pt idx="14">
                        <c:v>Austria</c:v>
                      </c:pt>
                      <c:pt idx="15">
                        <c:v>Svizzer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!$H$3:$H$18</c15:sqref>
                        </c15:formulaRef>
                      </c:ext>
                    </c:extLst>
                    <c:numCache>
                      <c:formatCode>0.0</c:formatCode>
                      <c:ptCount val="16"/>
                      <c:pt idx="0">
                        <c:v>305.55380514855602</c:v>
                      </c:pt>
                      <c:pt idx="1">
                        <c:v>692.11823577850703</c:v>
                      </c:pt>
                      <c:pt idx="2">
                        <c:v>581.06116796350796</c:v>
                      </c:pt>
                      <c:pt idx="3">
                        <c:v>609.64050716375698</c:v>
                      </c:pt>
                      <c:pt idx="4">
                        <c:v>1069.8058530491301</c:v>
                      </c:pt>
                      <c:pt idx="5">
                        <c:v>941.55404584445705</c:v>
                      </c:pt>
                      <c:pt idx="6">
                        <c:v>1015.15447207993</c:v>
                      </c:pt>
                      <c:pt idx="7">
                        <c:v>891.17462027346198</c:v>
                      </c:pt>
                      <c:pt idx="8">
                        <c:v>948.769085036913</c:v>
                      </c:pt>
                      <c:pt idx="9">
                        <c:v>1060.3213628993699</c:v>
                      </c:pt>
                      <c:pt idx="10">
                        <c:v>1114.4567152766999</c:v>
                      </c:pt>
                      <c:pt idx="11">
                        <c:v>1205.43422716332</c:v>
                      </c:pt>
                      <c:pt idx="12">
                        <c:v>1415.3351764869799</c:v>
                      </c:pt>
                      <c:pt idx="13">
                        <c:v>1385.7853934715899</c:v>
                      </c:pt>
                      <c:pt idx="14">
                        <c:v>1488.8107758802801</c:v>
                      </c:pt>
                      <c:pt idx="15">
                        <c:v>2505.1031061581998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0EB-4086-B314-698BDD6187D3}"/>
                  </c:ext>
                </c:extLst>
              </c15:ser>
            </c15:filteredBarSeries>
          </c:ext>
        </c:extLst>
      </c:barChart>
      <c:valAx>
        <c:axId val="65449984"/>
        <c:scaling>
          <c:orientation val="minMax"/>
          <c:max val="3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51520"/>
        <c:crosses val="autoZero"/>
        <c:crossBetween val="between"/>
        <c:majorUnit val="500"/>
      </c:valAx>
      <c:catAx>
        <c:axId val="654515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65449984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9248</cdr:x>
      <cdr:y>0.03028</cdr:y>
    </cdr:from>
    <cdr:to>
      <cdr:x>1</cdr:x>
      <cdr:y>0.08862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606259" y="133582"/>
          <a:ext cx="72768" cy="2573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endParaRPr lang="de-CH" sz="1200" dirty="0">
            <a:solidFill>
              <a:srgbClr val="444444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1.11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954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Domanda di traffico viaggiatori in Europa.</a:t>
            </a:r>
            <a:endParaRPr lang="de-CH" sz="1400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148143902"/>
              </p:ext>
            </p:extLst>
          </p:nvPr>
        </p:nvGraphicFramePr>
        <p:xfrm>
          <a:off x="1027866" y="1487577"/>
          <a:ext cx="9676646" cy="4411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Chilometri percorsi in treno per abitante nel 2023.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e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Eurostat, OECD, ORR, ONS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2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414872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96e82a89-ba48-4728-b345-cf206dbec8f1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F2E92FB-931B-4851-8DCB-5ABDEA8DCA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Domanda di traffico viaggiatori in Europ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nda di traffico viaggiatori in Europa.</dc:title>
  <dc:creator>Meyer Raphael (KOM-PGA-VSF)</dc:creator>
  <cp:lastModifiedBy>Stefan Weigel (PAR-EPS)</cp:lastModifiedBy>
  <cp:revision>17</cp:revision>
  <dcterms:created xsi:type="dcterms:W3CDTF">2020-09-30T11:00:09Z</dcterms:created>
  <dcterms:modified xsi:type="dcterms:W3CDTF">2024-11-01T10:4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